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1015" r:id="rId2"/>
    <p:sldId id="486" r:id="rId3"/>
    <p:sldId id="393" r:id="rId4"/>
    <p:sldId id="326" r:id="rId5"/>
    <p:sldId id="1016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9A1C3D4-DF37-4CF0-A81E-FDC22DE9B43A}" v="1" dt="2024-02-22T13:14:28.96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96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son Taylor" userId="9f6977f3-82b6-47fa-b44c-6a1d7bd44aa4" providerId="ADAL" clId="{A9A1C3D4-DF37-4CF0-A81E-FDC22DE9B43A}"/>
    <pc:docChg chg="addSld delSld modSld">
      <pc:chgData name="Jason Taylor" userId="9f6977f3-82b6-47fa-b44c-6a1d7bd44aa4" providerId="ADAL" clId="{A9A1C3D4-DF37-4CF0-A81E-FDC22DE9B43A}" dt="2024-02-22T13:14:32.955" v="1" actId="2696"/>
      <pc:docMkLst>
        <pc:docMk/>
      </pc:docMkLst>
      <pc:sldChg chg="del">
        <pc:chgData name="Jason Taylor" userId="9f6977f3-82b6-47fa-b44c-6a1d7bd44aa4" providerId="ADAL" clId="{A9A1C3D4-DF37-4CF0-A81E-FDC22DE9B43A}" dt="2024-02-22T13:14:32.955" v="1" actId="2696"/>
        <pc:sldMkLst>
          <pc:docMk/>
          <pc:sldMk cId="4134906635" sldId="256"/>
        </pc:sldMkLst>
      </pc:sldChg>
      <pc:sldChg chg="add modTransition">
        <pc:chgData name="Jason Taylor" userId="9f6977f3-82b6-47fa-b44c-6a1d7bd44aa4" providerId="ADAL" clId="{A9A1C3D4-DF37-4CF0-A81E-FDC22DE9B43A}" dt="2024-02-22T13:14:28.964" v="0"/>
        <pc:sldMkLst>
          <pc:docMk/>
          <pc:sldMk cId="3588116357" sldId="326"/>
        </pc:sldMkLst>
      </pc:sldChg>
      <pc:sldChg chg="add modTransition">
        <pc:chgData name="Jason Taylor" userId="9f6977f3-82b6-47fa-b44c-6a1d7bd44aa4" providerId="ADAL" clId="{A9A1C3D4-DF37-4CF0-A81E-FDC22DE9B43A}" dt="2024-02-22T13:14:28.964" v="0"/>
        <pc:sldMkLst>
          <pc:docMk/>
          <pc:sldMk cId="2412547026" sldId="393"/>
        </pc:sldMkLst>
      </pc:sldChg>
      <pc:sldChg chg="add">
        <pc:chgData name="Jason Taylor" userId="9f6977f3-82b6-47fa-b44c-6a1d7bd44aa4" providerId="ADAL" clId="{A9A1C3D4-DF37-4CF0-A81E-FDC22DE9B43A}" dt="2024-02-22T13:14:28.964" v="0"/>
        <pc:sldMkLst>
          <pc:docMk/>
          <pc:sldMk cId="1087557912" sldId="486"/>
        </pc:sldMkLst>
      </pc:sldChg>
      <pc:sldChg chg="add modTransition">
        <pc:chgData name="Jason Taylor" userId="9f6977f3-82b6-47fa-b44c-6a1d7bd44aa4" providerId="ADAL" clId="{A9A1C3D4-DF37-4CF0-A81E-FDC22DE9B43A}" dt="2024-02-22T13:14:28.964" v="0"/>
        <pc:sldMkLst>
          <pc:docMk/>
          <pc:sldMk cId="3462623805" sldId="1015"/>
        </pc:sldMkLst>
      </pc:sldChg>
      <pc:sldChg chg="add">
        <pc:chgData name="Jason Taylor" userId="9f6977f3-82b6-47fa-b44c-6a1d7bd44aa4" providerId="ADAL" clId="{A9A1C3D4-DF37-4CF0-A81E-FDC22DE9B43A}" dt="2024-02-22T13:14:28.964" v="0"/>
        <pc:sldMkLst>
          <pc:docMk/>
          <pc:sldMk cId="4129921722" sldId="101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918B5F-A10F-4DE2-90C8-45B8328238AA}" type="datetimeFigureOut">
              <a:rPr lang="en-US" smtClean="0"/>
              <a:t>2/2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9E149D-0C81-4D5A-B126-8EEF2A5DA8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0635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CA"/>
          </a:p>
        </p:txBody>
      </p:sp>
      <p:sp>
        <p:nvSpPr>
          <p:cNvPr id="2458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C9AD2E3-1F62-4A90-BCC3-AF74871C61E1}" type="slidenum">
              <a:rPr lang="en-CA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45630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05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CA" altLang="en-US"/>
          </a:p>
        </p:txBody>
      </p:sp>
      <p:sp>
        <p:nvSpPr>
          <p:cNvPr id="4506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defTabSz="931774">
              <a:defRPr/>
            </a:pPr>
            <a:fld id="{5B6AD6E6-DC25-46C4-B882-E166455F6706}" type="slidenum">
              <a:rPr lang="en-CA" altLang="en-US">
                <a:solidFill>
                  <a:prstClr val="black"/>
                </a:solidFill>
                <a:latin typeface="Calibri"/>
              </a:rPr>
              <a:pPr defTabSz="931774">
                <a:defRPr/>
              </a:pPr>
              <a:t>2</a:t>
            </a:fld>
            <a:endParaRPr lang="en-CA" alt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715842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7A7388-0ABE-4DCF-9E5A-7A70820B569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0443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077A22-C9FA-9F38-6EF9-22C0D6420D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11450A-BB64-3F36-688B-9DE990065D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568AAF-C93B-3167-D29B-065DE58BE6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5ECD3-4F99-479F-85FE-3F578491F792}" type="datetimeFigureOut">
              <a:rPr lang="en-US" smtClean="0"/>
              <a:t>2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9147F3-FB5A-35E1-64B2-75B3B294B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314C1F-F57C-2C56-4FE1-72A37D29B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E13ED-3251-4303-8CF0-CA4A0B4E4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45847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DF9A04-0D5C-4926-65C5-CFD1BCFD51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8207ADB-1F8A-35F4-DED9-61A87D0CEF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8AAC50-2407-CB31-ECBB-5C56D5DFDB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5ECD3-4F99-479F-85FE-3F578491F792}" type="datetimeFigureOut">
              <a:rPr lang="en-US" smtClean="0"/>
              <a:t>2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1246F8-1BC7-1582-8E50-343A93C038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F3A6A8-0F60-9150-EACB-E344C9742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E13ED-3251-4303-8CF0-CA4A0B4E4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9231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328846E-7145-C476-0F1D-B91E39B0C79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410E7F7-3659-6F96-61CB-23061EB5403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9AABF2-95D4-9773-7FF6-85B3D884BD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5ECD3-4F99-479F-85FE-3F578491F792}" type="datetimeFigureOut">
              <a:rPr lang="en-US" smtClean="0"/>
              <a:t>2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7491AD-B1D3-D8F0-3365-0DF27976AB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CAE311-69DE-C963-2E4C-3F6A5662E8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E13ED-3251-4303-8CF0-CA4A0B4E4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2217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CE721-B274-6928-05C2-FA66E2F22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C1C4C7-188E-3E58-1C6A-CE28D410F1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EFC7B7-E99D-9272-14B1-770CE10CB5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5ECD3-4F99-479F-85FE-3F578491F792}" type="datetimeFigureOut">
              <a:rPr lang="en-US" smtClean="0"/>
              <a:t>2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D3407F-D8AA-0B08-01ED-E705B8C2CF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34DADD-8C98-54E7-3E4B-C0FC98D2CC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E13ED-3251-4303-8CF0-CA4A0B4E4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241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CEE921-8F34-A62E-8875-7DBA7A3F56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DF5D05-77D9-084A-B360-DD7447C1D0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35575A-884D-CBC5-F3BB-C1C5A11169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5ECD3-4F99-479F-85FE-3F578491F792}" type="datetimeFigureOut">
              <a:rPr lang="en-US" smtClean="0"/>
              <a:t>2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DDAB91-11D8-5F73-E7DD-1CDCE8781C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BDF9AC-ABF1-B213-1FE7-04E8E77DE0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E13ED-3251-4303-8CF0-CA4A0B4E4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9259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6C65D-ABC7-9516-70FB-BCD008F834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2BA4AC-C1A9-0614-16F5-401E95A947D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DB60E9E-1971-17A2-3018-724FB86A5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9909D9-9A80-F705-2AA8-92484407A7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5ECD3-4F99-479F-85FE-3F578491F792}" type="datetimeFigureOut">
              <a:rPr lang="en-US" smtClean="0"/>
              <a:t>2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6699C4-1946-2B13-8E35-8590034E16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DC119B7-4E6C-24F0-3537-0CC636FD8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E13ED-3251-4303-8CF0-CA4A0B4E4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53760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CC9C55-E223-C982-F526-5D9176C566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6A3247-D2CD-1C31-8332-401606382C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9E9605-ABF4-DAA5-CE85-C535EA1F9F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CC28CC-4FA6-7F45-2D01-07397F0287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A280544-3BDB-979D-5762-D034FD23F17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D73D046-8A65-7979-BE0E-0FFC823700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5ECD3-4F99-479F-85FE-3F578491F792}" type="datetimeFigureOut">
              <a:rPr lang="en-US" smtClean="0"/>
              <a:t>2/22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E2AEF36-30A4-BC48-A202-D960EB535B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3C694C-9EC7-B12E-6F31-5F04B0A490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E13ED-3251-4303-8CF0-CA4A0B4E4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4735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CD1DBD-4C28-001F-A49E-4D0A417C5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02D0F3-6B05-4C5E-46FC-72F49F0042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5ECD3-4F99-479F-85FE-3F578491F792}" type="datetimeFigureOut">
              <a:rPr lang="en-US" smtClean="0"/>
              <a:t>2/2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B0F29D-F399-F0EB-8D3B-E60EABC8C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56B759-E048-7E67-AC0B-B6E4C93835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E13ED-3251-4303-8CF0-CA4A0B4E4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5195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4F695BA-A7CB-D587-9365-216C07B1E9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5ECD3-4F99-479F-85FE-3F578491F792}" type="datetimeFigureOut">
              <a:rPr lang="en-US" smtClean="0"/>
              <a:t>2/2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F4D9C5-FE2E-5316-6272-D170381B5F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DC04D7-7159-828A-F38D-414975143C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E13ED-3251-4303-8CF0-CA4A0B4E4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8205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CFF53-494E-C429-8B6E-A7837E614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41084-46A2-3DBD-7582-2D1A09BA36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69E211-2E1A-CC3F-F014-5E9B31A045E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13B50BA-68AF-6900-BD2C-F3BE0D1819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5ECD3-4F99-479F-85FE-3F578491F792}" type="datetimeFigureOut">
              <a:rPr lang="en-US" smtClean="0"/>
              <a:t>2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A3DC1-5721-6E56-DEDD-3B383BE9F0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5D07CE-FD69-6530-E55C-98C9135ADA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E13ED-3251-4303-8CF0-CA4A0B4E4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7681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61E9C8-C0A3-05BE-8C27-23D9164CB8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6BD420-2320-5102-F999-3BDEF90E72C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B01AE6-E034-1F32-F28D-BDCEB8A946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E5C0B2-569D-266B-D5AC-EC5A89AD7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5ECD3-4F99-479F-85FE-3F578491F792}" type="datetimeFigureOut">
              <a:rPr lang="en-US" smtClean="0"/>
              <a:t>2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C96BFF-4837-B285-4E0F-C5044D188E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E1FCC1-5CFC-629A-5889-50A6FB48AC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E13ED-3251-4303-8CF0-CA4A0B4E4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0703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423BD75-BD1B-A231-9459-5AEBD1E24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FC6FF9-4911-6FCA-E659-D350DFC865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F7FCE6-B5B3-CDCD-9AF6-A94EF140BE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B5ECD3-4F99-479F-85FE-3F578491F792}" type="datetimeFigureOut">
              <a:rPr lang="en-US" smtClean="0"/>
              <a:t>2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5B4C9A-E203-000F-B11C-4C5698DBAF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4C71C8-30C3-CA6D-09CD-E87D5C3380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BE13ED-3251-4303-8CF0-CA4A0B4E4B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8310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9.png"/><Relationship Id="rId7" Type="http://schemas.openxmlformats.org/officeDocument/2006/relationships/image" Target="../media/image12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11.png"/><Relationship Id="rId4" Type="http://schemas.openxmlformats.org/officeDocument/2006/relationships/image" Target="../media/image10.jpeg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2.png"/><Relationship Id="rId1" Type="http://schemas.openxmlformats.org/officeDocument/2006/relationships/tags" Target="../tags/tag1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emf"/><Relationship Id="rId15" Type="http://schemas.openxmlformats.org/officeDocument/2006/relationships/image" Target="../media/image31.png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25.png"/><Relationship Id="rId14" Type="http://schemas.openxmlformats.org/officeDocument/2006/relationships/image" Target="../media/image3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/>
        </p:nvSpPr>
        <p:spPr>
          <a:xfrm>
            <a:off x="1938000" y="2241000"/>
            <a:ext cx="8316000" cy="1674000"/>
          </a:xfrm>
          <a:prstGeom prst="roundRect">
            <a:avLst/>
          </a:prstGeom>
          <a:noFill/>
          <a:ln w="28575">
            <a:solidFill>
              <a:srgbClr val="99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000" y="4625578"/>
            <a:ext cx="9144000" cy="2232422"/>
          </a:xfrm>
          <a:prstGeom prst="rect">
            <a:avLst/>
          </a:prstGeom>
        </p:spPr>
      </p:pic>
      <p:sp>
        <p:nvSpPr>
          <p:cNvPr id="23" name="Subtitle 2"/>
          <p:cNvSpPr txBox="1">
            <a:spLocks/>
          </p:cNvSpPr>
          <p:nvPr/>
        </p:nvSpPr>
        <p:spPr bwMode="auto">
          <a:xfrm>
            <a:off x="1938001" y="2619001"/>
            <a:ext cx="8343343" cy="1084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ts val="600"/>
              </a:spcBef>
              <a:buClr>
                <a:schemeClr val="accent1"/>
              </a:buClr>
              <a:buSzPct val="76000"/>
            </a:pPr>
            <a:r>
              <a:rPr lang="en-CA" sz="5400" b="1">
                <a:solidFill>
                  <a:srgbClr val="CB0179"/>
                </a:solidFill>
                <a:latin typeface="+mj-lt"/>
              </a:rPr>
              <a:t>MORE BRANDS IN STO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277BE20-9DE9-4FB5-93D1-6CAA73ACEB4B}"/>
              </a:ext>
            </a:extLst>
          </p:cNvPr>
          <p:cNvSpPr txBox="1"/>
          <p:nvPr/>
        </p:nvSpPr>
        <p:spPr>
          <a:xfrm>
            <a:off x="6798001" y="4227309"/>
            <a:ext cx="24527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/>
              <a:t>RACK PROGRAMS</a:t>
            </a:r>
          </a:p>
        </p:txBody>
      </p:sp>
    </p:spTree>
    <p:extLst>
      <p:ext uri="{BB962C8B-B14F-4D97-AF65-F5344CB8AC3E}">
        <p14:creationId xmlns:p14="http://schemas.microsoft.com/office/powerpoint/2010/main" val="34626238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D060A7D-DECC-0B2D-33CF-960E07B03451}"/>
              </a:ext>
            </a:extLst>
          </p:cNvPr>
          <p:cNvSpPr/>
          <p:nvPr/>
        </p:nvSpPr>
        <p:spPr>
          <a:xfrm>
            <a:off x="1524000" y="665968"/>
            <a:ext cx="9144000" cy="1127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3AA6AD3-4B33-4B04-8C32-CAEE9DE1DFC9}"/>
              </a:ext>
            </a:extLst>
          </p:cNvPr>
          <p:cNvSpPr/>
          <p:nvPr/>
        </p:nvSpPr>
        <p:spPr>
          <a:xfrm>
            <a:off x="1524000" y="5771"/>
            <a:ext cx="9144000" cy="746666"/>
          </a:xfrm>
          <a:prstGeom prst="rect">
            <a:avLst/>
          </a:prstGeom>
          <a:solidFill>
            <a:srgbClr val="129A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524000" y="6253164"/>
            <a:ext cx="9144000" cy="604837"/>
          </a:xfrm>
          <a:prstGeom prst="rect">
            <a:avLst/>
          </a:prstGeom>
          <a:solidFill>
            <a:srgbClr val="FF505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9" name="Rectangle 25"/>
          <p:cNvSpPr>
            <a:spLocks noChangeArrowheads="1"/>
          </p:cNvSpPr>
          <p:nvPr/>
        </p:nvSpPr>
        <p:spPr bwMode="auto">
          <a:xfrm>
            <a:off x="1847252" y="4961220"/>
            <a:ext cx="1234953" cy="3061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defTabSz="1019175">
              <a:lnSpc>
                <a:spcPts val="1800"/>
              </a:lnSpc>
              <a:spcBef>
                <a:spcPct val="50000"/>
              </a:spcBef>
              <a:defRPr/>
            </a:pPr>
            <a:r>
              <a:rPr lang="en-CA" altLang="en-US" sz="1200" b="1">
                <a:solidFill>
                  <a:srgbClr val="800000"/>
                </a:solidFill>
                <a:latin typeface="Calibri" pitchFamily="34" charset="0"/>
              </a:rPr>
              <a:t>Ruby Terminalis </a:t>
            </a:r>
          </a:p>
        </p:txBody>
      </p:sp>
      <p:sp>
        <p:nvSpPr>
          <p:cNvPr id="40" name="Rectangle 24"/>
          <p:cNvSpPr>
            <a:spLocks noChangeArrowheads="1"/>
          </p:cNvSpPr>
          <p:nvPr/>
        </p:nvSpPr>
        <p:spPr bwMode="auto">
          <a:xfrm>
            <a:off x="5101252" y="4942056"/>
            <a:ext cx="1048749" cy="3061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defTabSz="1019175">
              <a:lnSpc>
                <a:spcPts val="1800"/>
              </a:lnSpc>
              <a:spcBef>
                <a:spcPct val="50000"/>
              </a:spcBef>
              <a:defRPr/>
            </a:pPr>
            <a:r>
              <a:rPr lang="en-CA" altLang="en-US" sz="1200" b="1">
                <a:solidFill>
                  <a:srgbClr val="800000"/>
                </a:solidFill>
                <a:latin typeface="Calibri" pitchFamily="34" charset="0"/>
              </a:rPr>
              <a:t>Majesty Palm</a:t>
            </a:r>
          </a:p>
        </p:txBody>
      </p:sp>
      <p:sp>
        <p:nvSpPr>
          <p:cNvPr id="42" name="Rectangle 25"/>
          <p:cNvSpPr>
            <a:spLocks noChangeArrowheads="1"/>
          </p:cNvSpPr>
          <p:nvPr/>
        </p:nvSpPr>
        <p:spPr bwMode="auto">
          <a:xfrm>
            <a:off x="6517634" y="4942057"/>
            <a:ext cx="1187889" cy="3061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defTabSz="1019175">
              <a:lnSpc>
                <a:spcPts val="1800"/>
              </a:lnSpc>
              <a:spcBef>
                <a:spcPct val="50000"/>
              </a:spcBef>
              <a:defRPr/>
            </a:pPr>
            <a:r>
              <a:rPr lang="en-CA" altLang="en-US" sz="1200" b="1">
                <a:solidFill>
                  <a:srgbClr val="800000"/>
                </a:solidFill>
                <a:latin typeface="Calibri" pitchFamily="34" charset="0"/>
              </a:rPr>
              <a:t>Bird of Paradise</a:t>
            </a:r>
          </a:p>
        </p:txBody>
      </p:sp>
      <p:sp>
        <p:nvSpPr>
          <p:cNvPr id="43" name="Rectangle 24"/>
          <p:cNvSpPr>
            <a:spLocks noChangeArrowheads="1"/>
          </p:cNvSpPr>
          <p:nvPr/>
        </p:nvSpPr>
        <p:spPr bwMode="auto">
          <a:xfrm>
            <a:off x="3251096" y="4959112"/>
            <a:ext cx="1469879" cy="3061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1019175">
              <a:lnSpc>
                <a:spcPts val="1800"/>
              </a:lnSpc>
              <a:spcBef>
                <a:spcPct val="50000"/>
              </a:spcBef>
              <a:defRPr/>
            </a:pPr>
            <a:r>
              <a:rPr lang="en-CA" altLang="en-US" sz="1200" b="1">
                <a:solidFill>
                  <a:srgbClr val="800000"/>
                </a:solidFill>
                <a:latin typeface="Calibri" pitchFamily="34" charset="0"/>
              </a:rPr>
              <a:t>Dracaena Marginata</a:t>
            </a:r>
          </a:p>
        </p:txBody>
      </p:sp>
      <p:sp>
        <p:nvSpPr>
          <p:cNvPr id="53" name="Subtitle 2"/>
          <p:cNvSpPr txBox="1">
            <a:spLocks/>
          </p:cNvSpPr>
          <p:nvPr/>
        </p:nvSpPr>
        <p:spPr bwMode="auto">
          <a:xfrm>
            <a:off x="1716152" y="888454"/>
            <a:ext cx="7945331" cy="55403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600"/>
              </a:spcBef>
              <a:buClr>
                <a:srgbClr val="4F81BD"/>
              </a:buClr>
              <a:buSzPct val="76000"/>
              <a:defRPr/>
            </a:pPr>
            <a:r>
              <a:rPr lang="en-CA" sz="2000">
                <a:solidFill>
                  <a:srgbClr val="800000"/>
                </a:solidFill>
                <a:latin typeface="Calibri"/>
              </a:rPr>
              <a:t>IDEAL FOR THE DIY CONSUMER TO CREATE THEIR OWN RIO PLANTERS</a:t>
            </a:r>
            <a:endParaRPr lang="en-CA" sz="2200" baseline="100000">
              <a:solidFill>
                <a:srgbClr val="800000"/>
              </a:solidFill>
              <a:latin typeface="Calibri"/>
            </a:endParaRPr>
          </a:p>
        </p:txBody>
      </p:sp>
      <p:pic>
        <p:nvPicPr>
          <p:cNvPr id="31" name="Picture 6">
            <a:extLst>
              <a:ext uri="{FF2B5EF4-FFF2-40B4-BE49-F238E27FC236}">
                <a16:creationId xmlns:a16="http://schemas.microsoft.com/office/drawing/2014/main" id="{5E2ED78D-66D3-48B8-AC02-E608A23253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8735977" y="96101"/>
            <a:ext cx="1751304" cy="1151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F7C6644-D2EC-DA93-A9B3-D252A9E23F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26032" y="1383603"/>
            <a:ext cx="1937313" cy="4779497"/>
          </a:xfrm>
          <a:prstGeom prst="rect">
            <a:avLst/>
          </a:prstGeom>
        </p:spPr>
      </p:pic>
      <p:pic>
        <p:nvPicPr>
          <p:cNvPr id="5" name="Picture 4" descr="A picture containing plant, agave&#10;&#10;Description automatically generated">
            <a:extLst>
              <a:ext uri="{FF2B5EF4-FFF2-40B4-BE49-F238E27FC236}">
                <a16:creationId xmlns:a16="http://schemas.microsoft.com/office/drawing/2014/main" id="{5E8FA084-3EA8-EE1F-F8C9-EC9696E17CA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1710" y="2077379"/>
            <a:ext cx="2450290" cy="2678660"/>
          </a:xfrm>
          <a:prstGeom prst="rect">
            <a:avLst/>
          </a:prstGeom>
        </p:spPr>
      </p:pic>
      <p:pic>
        <p:nvPicPr>
          <p:cNvPr id="7" name="Picture 6" descr="A plant in a container&#10;&#10;Description automatically generated with low confidence">
            <a:extLst>
              <a:ext uri="{FF2B5EF4-FFF2-40B4-BE49-F238E27FC236}">
                <a16:creationId xmlns:a16="http://schemas.microsoft.com/office/drawing/2014/main" id="{9269E221-0219-007F-A0AB-5DD39772DE7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4000" y="1819881"/>
            <a:ext cx="2497734" cy="2857278"/>
          </a:xfrm>
          <a:prstGeom prst="rect">
            <a:avLst/>
          </a:prstGeom>
        </p:spPr>
      </p:pic>
      <p:pic>
        <p:nvPicPr>
          <p:cNvPr id="9" name="Picture 8" descr="A plant in a pot&#10;&#10;Description automatically generated with medium confidence">
            <a:extLst>
              <a:ext uri="{FF2B5EF4-FFF2-40B4-BE49-F238E27FC236}">
                <a16:creationId xmlns:a16="http://schemas.microsoft.com/office/drawing/2014/main" id="{4B0641C3-F1DF-C44C-2B56-A22C8753744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1" y="1971000"/>
            <a:ext cx="1945593" cy="2754249"/>
          </a:xfrm>
          <a:prstGeom prst="rect">
            <a:avLst/>
          </a:prstGeom>
        </p:spPr>
      </p:pic>
      <p:pic>
        <p:nvPicPr>
          <p:cNvPr id="11" name="Picture 10" descr="A plant in a pot&#10;&#10;Description automatically generated with medium confidence">
            <a:extLst>
              <a:ext uri="{FF2B5EF4-FFF2-40B4-BE49-F238E27FC236}">
                <a16:creationId xmlns:a16="http://schemas.microsoft.com/office/drawing/2014/main" id="{85AF1023-51B7-B828-F2F5-2623874B086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113" y="1678943"/>
            <a:ext cx="2082919" cy="3189949"/>
          </a:xfrm>
          <a:prstGeom prst="rect">
            <a:avLst/>
          </a:prstGeom>
        </p:spPr>
      </p:pic>
      <p:sp>
        <p:nvSpPr>
          <p:cNvPr id="2" name="Subtitle 2">
            <a:extLst>
              <a:ext uri="{FF2B5EF4-FFF2-40B4-BE49-F238E27FC236}">
                <a16:creationId xmlns:a16="http://schemas.microsoft.com/office/drawing/2014/main" id="{DC3D9780-ABEC-01F0-173E-3C374B1F94D8}"/>
              </a:ext>
            </a:extLst>
          </p:cNvPr>
          <p:cNvSpPr txBox="1">
            <a:spLocks/>
          </p:cNvSpPr>
          <p:nvPr/>
        </p:nvSpPr>
        <p:spPr bwMode="auto">
          <a:xfrm>
            <a:off x="2035176" y="228600"/>
            <a:ext cx="6650893" cy="55403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600"/>
              </a:spcBef>
              <a:buClr>
                <a:srgbClr val="4F81BD"/>
              </a:buClr>
              <a:buSzPct val="76000"/>
              <a:defRPr/>
            </a:pPr>
            <a:r>
              <a:rPr lang="en-CA" sz="28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TROPICAL CENTERPIECES</a:t>
            </a:r>
            <a:endParaRPr lang="en-CA" sz="2800" baseline="10000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EC476D-ADAD-E090-C55F-C2787F7F057A}"/>
              </a:ext>
            </a:extLst>
          </p:cNvPr>
          <p:cNvSpPr txBox="1"/>
          <p:nvPr/>
        </p:nvSpPr>
        <p:spPr>
          <a:xfrm>
            <a:off x="8256043" y="6438486"/>
            <a:ext cx="2131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/>
              <a:t>fernlea.com/</a:t>
            </a:r>
            <a:r>
              <a:rPr lang="en-US" sz="1200" err="1"/>
              <a:t>gardentropics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087557912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4" descr="Bold and beautiful shades of green">
            <a:extLst>
              <a:ext uri="{FF2B5EF4-FFF2-40B4-BE49-F238E27FC236}">
                <a16:creationId xmlns:a16="http://schemas.microsoft.com/office/drawing/2014/main" id="{5B483F79-363B-4EDA-B741-51DA9C5689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5862" y="1142409"/>
            <a:ext cx="5162735" cy="42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88720811-53F3-4244-AD99-5A8BDFF099D3}"/>
              </a:ext>
            </a:extLst>
          </p:cNvPr>
          <p:cNvSpPr txBox="1"/>
          <p:nvPr/>
        </p:nvSpPr>
        <p:spPr>
          <a:xfrm>
            <a:off x="4935023" y="2063032"/>
            <a:ext cx="23503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2800">
                <a:solidFill>
                  <a:srgbClr val="008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1 Gallon Fern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D56805D-37BB-A5FC-392E-DF6C91A58D88}"/>
              </a:ext>
            </a:extLst>
          </p:cNvPr>
          <p:cNvSpPr/>
          <p:nvPr/>
        </p:nvSpPr>
        <p:spPr>
          <a:xfrm>
            <a:off x="1519600" y="653574"/>
            <a:ext cx="9144000" cy="11271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6A6AFC9-426F-1DBD-35EF-F0CB2DDBBC6D}"/>
              </a:ext>
            </a:extLst>
          </p:cNvPr>
          <p:cNvSpPr/>
          <p:nvPr/>
        </p:nvSpPr>
        <p:spPr>
          <a:xfrm>
            <a:off x="1524000" y="-27384"/>
            <a:ext cx="9144000" cy="757238"/>
          </a:xfrm>
          <a:prstGeom prst="rect">
            <a:avLst/>
          </a:prstGeom>
          <a:gradFill>
            <a:gsLst>
              <a:gs pos="11000">
                <a:srgbClr val="006600"/>
              </a:gs>
              <a:gs pos="34000">
                <a:schemeClr val="accent3">
                  <a:lumMod val="75000"/>
                </a:schemeClr>
              </a:gs>
              <a:gs pos="67000">
                <a:srgbClr val="92D050"/>
              </a:gs>
              <a:gs pos="100000">
                <a:srgbClr val="006600"/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DFAF04F-7812-CABB-A986-FF4AA4636329}"/>
              </a:ext>
            </a:extLst>
          </p:cNvPr>
          <p:cNvSpPr txBox="1">
            <a:spLocks/>
          </p:cNvSpPr>
          <p:nvPr/>
        </p:nvSpPr>
        <p:spPr bwMode="auto">
          <a:xfrm>
            <a:off x="2035176" y="228600"/>
            <a:ext cx="5592763" cy="55403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600"/>
              </a:spcBef>
              <a:buClr>
                <a:srgbClr val="4F81BD"/>
              </a:buClr>
              <a:buSzPct val="76000"/>
              <a:defRPr/>
            </a:pPr>
            <a:r>
              <a:rPr lang="en-CA" sz="28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THE FERN COLLECTION</a:t>
            </a:r>
            <a:endParaRPr lang="en-CA" sz="2800" baseline="10000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5A5518F-1F3B-4C42-9189-D0F2C861BE6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6001" y="137576"/>
            <a:ext cx="1249638" cy="57589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 descr="A green plant in a pot&#10;&#10;Description automatically generated with low confidence">
            <a:extLst>
              <a:ext uri="{FF2B5EF4-FFF2-40B4-BE49-F238E27FC236}">
                <a16:creationId xmlns:a16="http://schemas.microsoft.com/office/drawing/2014/main" id="{8D51D060-078E-64A5-358E-9D9390A4A7F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5986" y="2603382"/>
            <a:ext cx="3505170" cy="369124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45A2F87-46F6-4B3B-1B70-5AACB5F2C8C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rcRect l="5503" t="8437" r="10520" b="5282"/>
          <a:stretch/>
        </p:blipFill>
        <p:spPr>
          <a:xfrm>
            <a:off x="7285363" y="2843268"/>
            <a:ext cx="3379746" cy="301573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1357A11-8255-4C20-824B-BD39BE1092C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1217" y="3304446"/>
            <a:ext cx="2634146" cy="270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1A4D3701-B8BF-DB63-8DC5-BE9FFE04519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1742" y="1822994"/>
            <a:ext cx="2753896" cy="1175651"/>
          </a:xfrm>
          <a:prstGeom prst="rect">
            <a:avLst/>
          </a:prstGeom>
        </p:spPr>
      </p:pic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F06A24AB-05DE-5B1F-6209-093F71429D9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5986" y="1740843"/>
            <a:ext cx="3330000" cy="150999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D9C932F-4746-0242-5782-716DF7754076}"/>
              </a:ext>
            </a:extLst>
          </p:cNvPr>
          <p:cNvSpPr/>
          <p:nvPr/>
        </p:nvSpPr>
        <p:spPr>
          <a:xfrm>
            <a:off x="1524000" y="6253164"/>
            <a:ext cx="9144000" cy="604837"/>
          </a:xfrm>
          <a:prstGeom prst="rect">
            <a:avLst/>
          </a:prstGeom>
          <a:solidFill>
            <a:srgbClr val="00660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027441-9AD5-2E22-1BEE-BE93F7EF9BED}"/>
              </a:ext>
            </a:extLst>
          </p:cNvPr>
          <p:cNvSpPr txBox="1"/>
          <p:nvPr/>
        </p:nvSpPr>
        <p:spPr>
          <a:xfrm>
            <a:off x="8256043" y="6438486"/>
            <a:ext cx="2131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>
                <a:solidFill>
                  <a:schemeClr val="bg1"/>
                </a:solidFill>
              </a:rPr>
              <a:t>fernlea.com/</a:t>
            </a:r>
            <a:r>
              <a:rPr lang="en-US" sz="1200" err="1">
                <a:solidFill>
                  <a:schemeClr val="bg1"/>
                </a:solidFill>
              </a:rPr>
              <a:t>fabulousferns</a:t>
            </a: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5470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>
            <a:extLst>
              <a:ext uri="{FF2B5EF4-FFF2-40B4-BE49-F238E27FC236}">
                <a16:creationId xmlns:a16="http://schemas.microsoft.com/office/drawing/2014/main" id="{0D7482D9-D7C9-4936-91E9-C27CB43CCC5B}"/>
              </a:ext>
            </a:extLst>
          </p:cNvPr>
          <p:cNvSpPr txBox="1"/>
          <p:nvPr/>
        </p:nvSpPr>
        <p:spPr>
          <a:xfrm>
            <a:off x="5218104" y="2073473"/>
            <a:ext cx="18892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         </a:t>
            </a:r>
            <a:r>
              <a:rPr lang="en-US" b="1" u="sng"/>
              <a:t> Available In:</a:t>
            </a:r>
          </a:p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31FF5E8-0543-4FEB-8A2B-83DC361809A1}"/>
              </a:ext>
            </a:extLst>
          </p:cNvPr>
          <p:cNvSpPr/>
          <p:nvPr/>
        </p:nvSpPr>
        <p:spPr>
          <a:xfrm>
            <a:off x="1524000" y="6300780"/>
            <a:ext cx="9144000" cy="565335"/>
          </a:xfrm>
          <a:prstGeom prst="rect">
            <a:avLst/>
          </a:prstGeom>
          <a:solidFill>
            <a:srgbClr val="FFE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CFFFAE1-F08B-43ED-894E-2F966246DA7C}"/>
              </a:ext>
            </a:extLst>
          </p:cNvPr>
          <p:cNvSpPr/>
          <p:nvPr/>
        </p:nvSpPr>
        <p:spPr>
          <a:xfrm>
            <a:off x="1524000" y="659070"/>
            <a:ext cx="9144000" cy="11271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7888479-CA53-404A-B48D-CEB4EC0BB9EF}"/>
              </a:ext>
            </a:extLst>
          </p:cNvPr>
          <p:cNvSpPr/>
          <p:nvPr/>
        </p:nvSpPr>
        <p:spPr>
          <a:xfrm>
            <a:off x="1524000" y="-15613"/>
            <a:ext cx="9144000" cy="731040"/>
          </a:xfrm>
          <a:prstGeom prst="rect">
            <a:avLst/>
          </a:prstGeom>
          <a:solidFill>
            <a:srgbClr val="FFFF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C997D11F-4917-4E5F-A7B5-3C8F03AE101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3522" y="253167"/>
            <a:ext cx="1046478" cy="10464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B4F2B865-68F4-4024-9BC3-401468FA2D91}"/>
              </a:ext>
            </a:extLst>
          </p:cNvPr>
          <p:cNvSpPr/>
          <p:nvPr/>
        </p:nvSpPr>
        <p:spPr>
          <a:xfrm>
            <a:off x="8179975" y="892223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>
                <a:solidFill>
                  <a:srgbClr val="D6009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at</a:t>
            </a:r>
          </a:p>
        </p:txBody>
      </p:sp>
      <p:sp>
        <p:nvSpPr>
          <p:cNvPr id="11" name="Subtitle 6">
            <a:extLst>
              <a:ext uri="{FF2B5EF4-FFF2-40B4-BE49-F238E27FC236}">
                <a16:creationId xmlns:a16="http://schemas.microsoft.com/office/drawing/2014/main" id="{A2509C71-2420-40AF-A965-F97AB874AB4F}"/>
              </a:ext>
            </a:extLst>
          </p:cNvPr>
          <p:cNvSpPr txBox="1">
            <a:spLocks/>
          </p:cNvSpPr>
          <p:nvPr/>
        </p:nvSpPr>
        <p:spPr>
          <a:xfrm>
            <a:off x="4288338" y="1363485"/>
            <a:ext cx="5389959" cy="483108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indent="0" algn="ctr" defTabSz="2057400" rtl="0" eaLnBrk="1" latinLnBrk="0" hangingPunct="1">
              <a:lnSpc>
                <a:spcPct val="90000"/>
              </a:lnSpc>
              <a:spcBef>
                <a:spcPts val="2250"/>
              </a:spcBef>
              <a:buFont typeface="Arial" panose="020B0604020202020204" pitchFamily="34" charset="0"/>
              <a:buNone/>
              <a:defRPr sz="5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28700" indent="0" algn="ctr" defTabSz="2057400" rtl="0" eaLnBrk="1" latinLnBrk="0" hangingPunct="1">
              <a:lnSpc>
                <a:spcPct val="90000"/>
              </a:lnSpc>
              <a:spcBef>
                <a:spcPts val="1125"/>
              </a:spcBef>
              <a:buFont typeface="Arial" panose="020B0604020202020204" pitchFamily="34" charset="0"/>
              <a:buNone/>
              <a:defRPr sz="4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57400" indent="0" algn="ctr" defTabSz="2057400" rtl="0" eaLnBrk="1" latinLnBrk="0" hangingPunct="1">
              <a:lnSpc>
                <a:spcPct val="90000"/>
              </a:lnSpc>
              <a:spcBef>
                <a:spcPts val="1125"/>
              </a:spcBef>
              <a:buFont typeface="Arial" panose="020B0604020202020204" pitchFamily="34" charset="0"/>
              <a:buNone/>
              <a:defRPr sz="4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086100" indent="0" algn="ctr" defTabSz="2057400" rtl="0" eaLnBrk="1" latinLnBrk="0" hangingPunct="1">
              <a:lnSpc>
                <a:spcPct val="90000"/>
              </a:lnSpc>
              <a:spcBef>
                <a:spcPts val="1125"/>
              </a:spcBef>
              <a:buFont typeface="Arial" panose="020B0604020202020204" pitchFamily="34" charset="0"/>
              <a:buNone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800" indent="0" algn="ctr" defTabSz="2057400" rtl="0" eaLnBrk="1" latinLnBrk="0" hangingPunct="1">
              <a:lnSpc>
                <a:spcPct val="90000"/>
              </a:lnSpc>
              <a:spcBef>
                <a:spcPts val="1125"/>
              </a:spcBef>
              <a:buFont typeface="Arial" panose="020B0604020202020204" pitchFamily="34" charset="0"/>
              <a:buNone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43500" indent="0" algn="ctr" defTabSz="2057400" rtl="0" eaLnBrk="1" latinLnBrk="0" hangingPunct="1">
              <a:lnSpc>
                <a:spcPct val="90000"/>
              </a:lnSpc>
              <a:spcBef>
                <a:spcPts val="1125"/>
              </a:spcBef>
              <a:buFont typeface="Arial" panose="020B0604020202020204" pitchFamily="34" charset="0"/>
              <a:buNone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172200" indent="0" algn="ctr" defTabSz="2057400" rtl="0" eaLnBrk="1" latinLnBrk="0" hangingPunct="1">
              <a:lnSpc>
                <a:spcPct val="90000"/>
              </a:lnSpc>
              <a:spcBef>
                <a:spcPts val="1125"/>
              </a:spcBef>
              <a:buFont typeface="Arial" panose="020B0604020202020204" pitchFamily="34" charset="0"/>
              <a:buNone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900" indent="0" algn="ctr" defTabSz="2057400" rtl="0" eaLnBrk="1" latinLnBrk="0" hangingPunct="1">
              <a:lnSpc>
                <a:spcPct val="90000"/>
              </a:lnSpc>
              <a:spcBef>
                <a:spcPts val="1125"/>
              </a:spcBef>
              <a:buFont typeface="Arial" panose="020B0604020202020204" pitchFamily="34" charset="0"/>
              <a:buNone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229600" indent="0" algn="ctr" defTabSz="2057400" rtl="0" eaLnBrk="1" latinLnBrk="0" hangingPunct="1">
              <a:lnSpc>
                <a:spcPct val="90000"/>
              </a:lnSpc>
              <a:spcBef>
                <a:spcPts val="1125"/>
              </a:spcBef>
              <a:buFont typeface="Arial" panose="020B0604020202020204" pitchFamily="34" charset="0"/>
              <a:buNone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43050">
              <a:lnSpc>
                <a:spcPct val="80000"/>
              </a:lnSpc>
              <a:spcBef>
                <a:spcPts val="1688"/>
              </a:spcBef>
              <a:defRPr/>
            </a:pPr>
            <a:r>
              <a:rPr lang="en-US" sz="2000">
                <a:latin typeface="Calibri" panose="020F0502020204030204"/>
              </a:rPr>
              <a:t>The success of Rio brings new opportunit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2ED8EEF-5B63-41BA-A2D9-029EC733A1CC}"/>
              </a:ext>
            </a:extLst>
          </p:cNvPr>
          <p:cNvSpPr txBox="1"/>
          <p:nvPr/>
        </p:nvSpPr>
        <p:spPr>
          <a:xfrm>
            <a:off x="5905878" y="2494652"/>
            <a:ext cx="2057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/>
              <a:t>Quar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/>
              <a:t>Patio Pots</a:t>
            </a:r>
          </a:p>
          <a:p>
            <a:endParaRPr lang="en-CA"/>
          </a:p>
        </p:txBody>
      </p:sp>
      <p:pic>
        <p:nvPicPr>
          <p:cNvPr id="6" name="Picture 5" descr="Icon&#10;&#10;Description automatically generated with low confidence">
            <a:extLst>
              <a:ext uri="{FF2B5EF4-FFF2-40B4-BE49-F238E27FC236}">
                <a16:creationId xmlns:a16="http://schemas.microsoft.com/office/drawing/2014/main" id="{F4054768-B7EC-FE43-41A3-BA21B577257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664" y="-19379"/>
            <a:ext cx="2618969" cy="1024991"/>
          </a:xfrm>
          <a:prstGeom prst="rect">
            <a:avLst/>
          </a:prstGeom>
        </p:spPr>
      </p:pic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804DC571-D66C-8174-3519-2175FE5D536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4000" y="908313"/>
            <a:ext cx="1602000" cy="4005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2E74B9B-EFD7-0E64-1C20-0EBC52ADD2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41433" y="1724947"/>
            <a:ext cx="1853373" cy="458431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E955D3C-714D-AFD6-F607-7A970B31B473}"/>
              </a:ext>
            </a:extLst>
          </p:cNvPr>
          <p:cNvSpPr txBox="1"/>
          <p:nvPr/>
        </p:nvSpPr>
        <p:spPr>
          <a:xfrm>
            <a:off x="8256043" y="6438486"/>
            <a:ext cx="2131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/>
              <a:t>fernlea.com/calyps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2DE690-6FCE-A60F-0274-05945A1B81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33258" y="2098415"/>
            <a:ext cx="2816596" cy="308484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6B0C1BD-CFF7-8488-48CB-C9E9C74940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73054" y="3796968"/>
            <a:ext cx="2645893" cy="2780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1163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845EBEC-99B9-491C-EB3A-3519BAD624DF}"/>
              </a:ext>
            </a:extLst>
          </p:cNvPr>
          <p:cNvSpPr/>
          <p:nvPr/>
        </p:nvSpPr>
        <p:spPr>
          <a:xfrm>
            <a:off x="1519600" y="653574"/>
            <a:ext cx="9144000" cy="11271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E7577744-5487-4B96-87B2-E60D2519672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3194" y="1102775"/>
            <a:ext cx="926802" cy="29896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5519F6E-03D0-4C84-B623-F3FDE3F5F7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28808" y="4354001"/>
            <a:ext cx="900798" cy="1109753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8A28EA1-8438-4969-90DC-FD69A040309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75694" y="1447243"/>
            <a:ext cx="1596350" cy="1567454"/>
          </a:xfrm>
          <a:prstGeom prst="rect">
            <a:avLst/>
          </a:prstGeom>
          <a:ln w="6350" cap="sq">
            <a:solidFill>
              <a:srgbClr val="ED207B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C19D4D3-6913-4C6B-8FDF-EFF1D19211C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30001" y="1432749"/>
            <a:ext cx="1539587" cy="1567454"/>
          </a:xfrm>
          <a:prstGeom prst="rect">
            <a:avLst/>
          </a:prstGeom>
          <a:ln w="6350">
            <a:solidFill>
              <a:srgbClr val="F07C1F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95A76770-CE53-4E08-B833-0192B5A14DF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03440" y="1435633"/>
            <a:ext cx="1362493" cy="1563624"/>
          </a:xfrm>
          <a:prstGeom prst="rect">
            <a:avLst/>
          </a:prstGeom>
          <a:solidFill>
            <a:srgbClr val="FFFFFF">
              <a:shade val="85000"/>
            </a:srgbClr>
          </a:solidFill>
          <a:ln w="6350" cap="rnd">
            <a:solidFill>
              <a:srgbClr val="FFFF00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458E69A-CE61-47D7-B8F1-5E9897DD8C4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605209" y="1458085"/>
            <a:ext cx="1789168" cy="1567454"/>
          </a:xfrm>
          <a:prstGeom prst="rect">
            <a:avLst/>
          </a:prstGeom>
          <a:ln w="6350" cap="sq">
            <a:solidFill>
              <a:srgbClr val="B9517D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15694932-F592-48EE-B568-7A16E8E923F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199784" y="1447243"/>
            <a:ext cx="1342058" cy="1563624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27" name="Text Box 5">
            <a:extLst>
              <a:ext uri="{FF2B5EF4-FFF2-40B4-BE49-F238E27FC236}">
                <a16:creationId xmlns:a16="http://schemas.microsoft.com/office/drawing/2014/main" id="{AC1FA691-3696-4DBC-8715-D46142DADA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86701" y="788466"/>
            <a:ext cx="4684734" cy="516836"/>
          </a:xfrm>
          <a:prstGeom prst="rect">
            <a:avLst/>
          </a:prstGeom>
          <a:noFill/>
          <a:ln>
            <a:noFill/>
          </a:ln>
        </p:spPr>
        <p:txBody>
          <a:bodyPr wrap="square" lIns="101882" tIns="50941" rIns="101882" bIns="50941">
            <a:spAutoFit/>
          </a:bodyPr>
          <a:lstStyle>
            <a:lvl1pPr eaLnBrk="0" hangingPunct="0">
              <a:defRPr sz="27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 eaLnBrk="0" hangingPunct="0">
              <a:defRPr sz="27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 eaLnBrk="0" hangingPunct="0">
              <a:defRPr sz="27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 eaLnBrk="0" hangingPunct="0">
              <a:defRPr sz="27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 eaLnBrk="0" hangingPunct="0">
              <a:defRPr sz="27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fontAlgn="base">
              <a:lnSpc>
                <a:spcPct val="150000"/>
              </a:lnSpc>
              <a:spcBef>
                <a:spcPct val="0"/>
              </a:spcBef>
              <a:buClr>
                <a:srgbClr val="CB0179"/>
              </a:buClr>
              <a:defRPr/>
            </a:pPr>
            <a:r>
              <a:rPr lang="en-CA" sz="2000">
                <a:solidFill>
                  <a:srgbClr val="CB0179"/>
                </a:solidFill>
                <a:latin typeface="Calibri"/>
              </a:rPr>
              <a:t>NOT YOUR AVERAGE BLOOM!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656EA32-3CCD-4033-AFFB-9BA991B477F0}"/>
              </a:ext>
            </a:extLst>
          </p:cNvPr>
          <p:cNvSpPr txBox="1"/>
          <p:nvPr/>
        </p:nvSpPr>
        <p:spPr>
          <a:xfrm>
            <a:off x="1830000" y="5535325"/>
            <a:ext cx="5598702" cy="61555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CB0179"/>
                </a:solidFill>
                <a:latin typeface="Calibri"/>
              </a:rPr>
              <a:t>LOW MAINTENANCE: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prstClr val="black"/>
                </a:solidFill>
                <a:latin typeface="Calibri"/>
              </a:rPr>
              <a:t>Simple pruning will encourage more blooms for a fuller plant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FAD47C7-016E-4340-978E-5423EF493BC0}"/>
              </a:ext>
            </a:extLst>
          </p:cNvPr>
          <p:cNvSpPr txBox="1"/>
          <p:nvPr/>
        </p:nvSpPr>
        <p:spPr>
          <a:xfrm>
            <a:off x="1830000" y="3555146"/>
            <a:ext cx="5599134" cy="64633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CB0179"/>
                </a:solidFill>
                <a:latin typeface="Calibri"/>
              </a:rPr>
              <a:t>BIG, BOLD, BEAUTIFUL BLOOM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>
                <a:solidFill>
                  <a:prstClr val="black"/>
                </a:solidFill>
                <a:latin typeface="Calibri"/>
              </a:rPr>
              <a:t>3-4 days </a:t>
            </a:r>
            <a:r>
              <a:rPr lang="en-US" sz="1600">
                <a:solidFill>
                  <a:prstClr val="black"/>
                </a:solidFill>
                <a:latin typeface="Calibri"/>
              </a:rPr>
              <a:t>of tropical color, whereas most blooms only last a day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DBC9E19-9AC3-42DD-B293-ED60060C0B6C}"/>
              </a:ext>
            </a:extLst>
          </p:cNvPr>
          <p:cNvSpPr txBox="1"/>
          <p:nvPr/>
        </p:nvSpPr>
        <p:spPr>
          <a:xfrm>
            <a:off x="1841426" y="4293325"/>
            <a:ext cx="5599134" cy="61555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CB0179"/>
                </a:solidFill>
                <a:latin typeface="Calibri"/>
              </a:rPr>
              <a:t>SUN-LOVING TROPICAL BEAUTY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prstClr val="black"/>
                </a:solidFill>
                <a:latin typeface="Calibri"/>
              </a:rPr>
              <a:t>Create a backyard oasis on the sun deck or around the pool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579EAC6-5EA3-4E2C-BF4F-11512F990E31}"/>
              </a:ext>
            </a:extLst>
          </p:cNvPr>
          <p:cNvSpPr txBox="1"/>
          <p:nvPr/>
        </p:nvSpPr>
        <p:spPr>
          <a:xfrm>
            <a:off x="1841426" y="4910547"/>
            <a:ext cx="5599134" cy="64633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CB0179"/>
                </a:solidFill>
                <a:latin typeface="Calibri"/>
              </a:rPr>
              <a:t>VERSATILITY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prstClr val="black"/>
                </a:solidFill>
                <a:latin typeface="Calibri"/>
              </a:rPr>
              <a:t>Perfect for planters, tabletops and landscapes.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299B49B-DD38-4B38-B685-A5C56B4B13F3}"/>
              </a:ext>
            </a:extLst>
          </p:cNvPr>
          <p:cNvSpPr/>
          <p:nvPr/>
        </p:nvSpPr>
        <p:spPr>
          <a:xfrm>
            <a:off x="1524000" y="-27384"/>
            <a:ext cx="9144000" cy="757238"/>
          </a:xfrm>
          <a:prstGeom prst="rect">
            <a:avLst/>
          </a:prstGeom>
          <a:gradFill flip="none" rotWithShape="1">
            <a:gsLst>
              <a:gs pos="0">
                <a:srgbClr val="FFF200"/>
              </a:gs>
              <a:gs pos="45000">
                <a:srgbClr val="FF7A00"/>
              </a:gs>
              <a:gs pos="70000">
                <a:srgbClr val="FF0300"/>
              </a:gs>
              <a:gs pos="100000">
                <a:srgbClr val="4D0808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>
              <a:solidFill>
                <a:schemeClr val="bg1"/>
              </a:solidFill>
            </a:endParaRPr>
          </a:p>
        </p:txBody>
      </p:sp>
      <p:pic>
        <p:nvPicPr>
          <p:cNvPr id="25" name="Picture 2">
            <a:extLst>
              <a:ext uri="{FF2B5EF4-FFF2-40B4-BE49-F238E27FC236}">
                <a16:creationId xmlns:a16="http://schemas.microsoft.com/office/drawing/2014/main" id="{DE6A2FF0-DD5A-44F4-A224-249E513EAD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/>
          <a:srcRect/>
          <a:stretch>
            <a:fillRect/>
          </a:stretch>
        </p:blipFill>
        <p:spPr bwMode="auto">
          <a:xfrm>
            <a:off x="8094001" y="127079"/>
            <a:ext cx="2504597" cy="113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5FD6923-70B9-49E8-B38A-64C8ABDAFF6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293262" y="3214958"/>
            <a:ext cx="585294" cy="102878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4" name="Subtitle 2">
            <a:extLst>
              <a:ext uri="{FF2B5EF4-FFF2-40B4-BE49-F238E27FC236}">
                <a16:creationId xmlns:a16="http://schemas.microsoft.com/office/drawing/2014/main" id="{593FD065-1301-F04C-6E13-5F4C6A9CECAF}"/>
              </a:ext>
            </a:extLst>
          </p:cNvPr>
          <p:cNvSpPr txBox="1">
            <a:spLocks/>
          </p:cNvSpPr>
          <p:nvPr/>
        </p:nvSpPr>
        <p:spPr bwMode="auto">
          <a:xfrm>
            <a:off x="2035176" y="228600"/>
            <a:ext cx="5592763" cy="55403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600"/>
              </a:spcBef>
              <a:buClr>
                <a:srgbClr val="4F81BD"/>
              </a:buClr>
              <a:buSzPct val="76000"/>
              <a:defRPr/>
            </a:pPr>
            <a:r>
              <a:rPr lang="en-CA" sz="28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HAWAIIAN PUNCH HIBISCUS</a:t>
            </a:r>
            <a:endParaRPr lang="en-CA" sz="2800" baseline="10000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CC6D56-3D94-7910-22CB-FAD7A5523C5B}"/>
              </a:ext>
            </a:extLst>
          </p:cNvPr>
          <p:cNvSpPr txBox="1"/>
          <p:nvPr/>
        </p:nvSpPr>
        <p:spPr>
          <a:xfrm>
            <a:off x="8256043" y="6438486"/>
            <a:ext cx="2131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/>
              <a:t>fernlea.com/</a:t>
            </a:r>
            <a:r>
              <a:rPr lang="en-US" sz="1200" err="1"/>
              <a:t>hawaiianpunch</a:t>
            </a:r>
            <a:endParaRPr lang="en-US" sz="12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B0EBEAE-8AEF-43C9-FD11-2432F54B741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416355" y="3154236"/>
            <a:ext cx="711023" cy="102878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8B7D28B-CB37-E08C-62AC-A47DC8072FE7}"/>
              </a:ext>
            </a:extLst>
          </p:cNvPr>
          <p:cNvPicPr>
            <a:picLocks noChangeAspect="1"/>
          </p:cNvPicPr>
          <p:nvPr/>
        </p:nvPicPr>
        <p:blipFill>
          <a:blip r:embed="rId16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103790" y="5264540"/>
            <a:ext cx="1336150" cy="156910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940FD7C-31A5-9697-38D8-FE895C16F49E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034321" y="3169373"/>
            <a:ext cx="1353429" cy="3255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92172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40</Words>
  <Application>Microsoft Office PowerPoint</Application>
  <PresentationFormat>Widescreen</PresentationFormat>
  <Paragraphs>32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son Taylor</dc:creator>
  <cp:lastModifiedBy>Jason Taylor</cp:lastModifiedBy>
  <cp:revision>1</cp:revision>
  <dcterms:created xsi:type="dcterms:W3CDTF">2024-02-22T13:13:39Z</dcterms:created>
  <dcterms:modified xsi:type="dcterms:W3CDTF">2024-02-22T13:14:39Z</dcterms:modified>
</cp:coreProperties>
</file>